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D$2:$D$256</c:f>
              <c:numCache>
                <c:formatCode>#,##0</c:formatCode>
                <c:ptCount val="25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19</c:v>
                </c:pt>
                <c:pt idx="189">
                  <c:v>908</c:v>
                </c:pt>
                <c:pt idx="190">
                  <c:v>915</c:v>
                </c:pt>
                <c:pt idx="191">
                  <c:v>917</c:v>
                </c:pt>
                <c:pt idx="192">
                  <c:v>927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2</c:v>
                </c:pt>
                <c:pt idx="209">
                  <c:v>866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0</c:v>
                </c:pt>
                <c:pt idx="229">
                  <c:v>495</c:v>
                </c:pt>
                <c:pt idx="230">
                  <c:v>492</c:v>
                </c:pt>
                <c:pt idx="231">
                  <c:v>476</c:v>
                </c:pt>
                <c:pt idx="232">
                  <c:v>464</c:v>
                </c:pt>
                <c:pt idx="233">
                  <c:v>418</c:v>
                </c:pt>
                <c:pt idx="234">
                  <c:v>401</c:v>
                </c:pt>
                <c:pt idx="235">
                  <c:v>377</c:v>
                </c:pt>
                <c:pt idx="236">
                  <c:v>371</c:v>
                </c:pt>
                <c:pt idx="237">
                  <c:v>361</c:v>
                </c:pt>
                <c:pt idx="238">
                  <c:v>359</c:v>
                </c:pt>
                <c:pt idx="239">
                  <c:v>334</c:v>
                </c:pt>
                <c:pt idx="240">
                  <c:v>304</c:v>
                </c:pt>
                <c:pt idx="241">
                  <c:v>278</c:v>
                </c:pt>
                <c:pt idx="242">
                  <c:v>263</c:v>
                </c:pt>
                <c:pt idx="243" formatCode="General">
                  <c:v>269</c:v>
                </c:pt>
                <c:pt idx="244" formatCode="General">
                  <c:v>267</c:v>
                </c:pt>
                <c:pt idx="245" formatCode="General">
                  <c:v>255</c:v>
                </c:pt>
                <c:pt idx="246" formatCode="General">
                  <c:v>237</c:v>
                </c:pt>
                <c:pt idx="247" formatCode="General">
                  <c:v>222</c:v>
                </c:pt>
                <c:pt idx="248" formatCode="General">
                  <c:v>204</c:v>
                </c:pt>
                <c:pt idx="249" formatCode="General">
                  <c:v>187</c:v>
                </c:pt>
                <c:pt idx="250" formatCode="General">
                  <c:v>186</c:v>
                </c:pt>
                <c:pt idx="251" formatCode="General">
                  <c:v>188</c:v>
                </c:pt>
                <c:pt idx="252" formatCode="General">
                  <c:v>167</c:v>
                </c:pt>
                <c:pt idx="253" formatCode="General">
                  <c:v>157</c:v>
                </c:pt>
                <c:pt idx="254" formatCode="General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6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B$2:$B$256</c:f>
              <c:numCache>
                <c:formatCode>#,##0</c:formatCode>
                <c:ptCount val="25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  <c:pt idx="252" formatCode="General">
                  <c:v>663</c:v>
                </c:pt>
                <c:pt idx="253" formatCode="General">
                  <c:v>669</c:v>
                </c:pt>
                <c:pt idx="254" formatCode="General">
                  <c:v>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C$2:$C$256</c:f>
              <c:numCache>
                <c:formatCode>#,##0</c:formatCode>
                <c:ptCount val="25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D$2:$D$256</c:f>
              <c:numCache>
                <c:formatCode>#,##0</c:formatCode>
                <c:ptCount val="25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5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1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8</c:v>
                </c:pt>
                <c:pt idx="172">
                  <c:v>2686</c:v>
                </c:pt>
                <c:pt idx="173">
                  <c:v>2807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3</c:v>
                </c:pt>
                <c:pt idx="182">
                  <c:v>3618</c:v>
                </c:pt>
                <c:pt idx="183">
                  <c:v>3594</c:v>
                </c:pt>
                <c:pt idx="184">
                  <c:v>3678</c:v>
                </c:pt>
                <c:pt idx="185">
                  <c:v>3706</c:v>
                </c:pt>
                <c:pt idx="186">
                  <c:v>3785</c:v>
                </c:pt>
                <c:pt idx="187">
                  <c:v>3874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4</c:v>
                </c:pt>
                <c:pt idx="192">
                  <c:v>3860</c:v>
                </c:pt>
                <c:pt idx="193">
                  <c:v>3973</c:v>
                </c:pt>
                <c:pt idx="194">
                  <c:v>4041</c:v>
                </c:pt>
                <c:pt idx="195">
                  <c:v>4184</c:v>
                </c:pt>
                <c:pt idx="196">
                  <c:v>4102</c:v>
                </c:pt>
                <c:pt idx="197">
                  <c:v>4024</c:v>
                </c:pt>
                <c:pt idx="198">
                  <c:v>3995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2</c:v>
                </c:pt>
                <c:pt idx="203">
                  <c:v>3682</c:v>
                </c:pt>
                <c:pt idx="204">
                  <c:v>3539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6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9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6</c:v>
                </c:pt>
                <c:pt idx="234">
                  <c:v>1424</c:v>
                </c:pt>
                <c:pt idx="235">
                  <c:v>1355</c:v>
                </c:pt>
                <c:pt idx="236">
                  <c:v>1354</c:v>
                </c:pt>
                <c:pt idx="237">
                  <c:v>1303</c:v>
                </c:pt>
                <c:pt idx="238">
                  <c:v>1279</c:v>
                </c:pt>
                <c:pt idx="239">
                  <c:v>1238</c:v>
                </c:pt>
                <c:pt idx="240">
                  <c:v>1183</c:v>
                </c:pt>
                <c:pt idx="241">
                  <c:v>1136</c:v>
                </c:pt>
                <c:pt idx="242">
                  <c:v>1143</c:v>
                </c:pt>
                <c:pt idx="243">
                  <c:v>1137</c:v>
                </c:pt>
                <c:pt idx="244">
                  <c:v>1134</c:v>
                </c:pt>
                <c:pt idx="245">
                  <c:v>1064</c:v>
                </c:pt>
                <c:pt idx="246">
                  <c:v>999</c:v>
                </c:pt>
                <c:pt idx="247" formatCode="General">
                  <c:v>927</c:v>
                </c:pt>
                <c:pt idx="248" formatCode="General">
                  <c:v>859</c:v>
                </c:pt>
                <c:pt idx="249" formatCode="General">
                  <c:v>817</c:v>
                </c:pt>
                <c:pt idx="250" formatCode="General">
                  <c:v>821</c:v>
                </c:pt>
                <c:pt idx="251" formatCode="General">
                  <c:v>777</c:v>
                </c:pt>
                <c:pt idx="252" formatCode="General">
                  <c:v>725</c:v>
                </c:pt>
                <c:pt idx="253" formatCode="General">
                  <c:v>657</c:v>
                </c:pt>
                <c:pt idx="254" formatCode="General">
                  <c:v>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8F-4362-B4A6-9E19C601B0A9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00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88F-4362-B4A6-9E19C601B0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B$2:$B$256</c:f>
              <c:numCache>
                <c:formatCode>#,##0</c:formatCode>
                <c:ptCount val="25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C$2:$C$256</c:f>
              <c:numCache>
                <c:formatCode>#,##0</c:formatCode>
                <c:ptCount val="25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D$2:$D$256</c:f>
              <c:numCache>
                <c:formatCode>#,##0</c:formatCode>
                <c:ptCount val="25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  <c:pt idx="252" formatCode="General">
                  <c:v>13</c:v>
                </c:pt>
                <c:pt idx="253" formatCode="General">
                  <c:v>12</c:v>
                </c:pt>
                <c:pt idx="254" formatCode="General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1.3064165799008164E-2"/>
                  <c:y val="-4.49057121480209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B$2:$B$256</c:f>
              <c:numCache>
                <c:formatCode>#,##0</c:formatCode>
                <c:ptCount val="25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  <c:pt idx="252" formatCode="m/d/yyyy">
                  <c:v>54</c:v>
                </c:pt>
                <c:pt idx="253" formatCode="m/d/yyyy">
                  <c:v>54</c:v>
                </c:pt>
                <c:pt idx="254" formatCode="m/d/yyyy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C$2:$C$256</c:f>
              <c:numCache>
                <c:formatCode>#,##0</c:formatCode>
                <c:ptCount val="25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D$2:$D$256</c:f>
              <c:numCache>
                <c:formatCode>#,##0</c:formatCode>
                <c:ptCount val="25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1</c:v>
                </c:pt>
                <c:pt idx="189">
                  <c:v>1800</c:v>
                </c:pt>
                <c:pt idx="190">
                  <c:v>1829</c:v>
                </c:pt>
                <c:pt idx="191">
                  <c:v>1819</c:v>
                </c:pt>
                <c:pt idx="192">
                  <c:v>1831</c:v>
                </c:pt>
                <c:pt idx="193">
                  <c:v>1780</c:v>
                </c:pt>
                <c:pt idx="194">
                  <c:v>1827</c:v>
                </c:pt>
                <c:pt idx="195">
                  <c:v>1884</c:v>
                </c:pt>
                <c:pt idx="196">
                  <c:v>1892</c:v>
                </c:pt>
                <c:pt idx="197">
                  <c:v>1860</c:v>
                </c:pt>
                <c:pt idx="198">
                  <c:v>1858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3</c:v>
                </c:pt>
                <c:pt idx="209">
                  <c:v>1663</c:v>
                </c:pt>
                <c:pt idx="210">
                  <c:v>1614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1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9</c:v>
                </c:pt>
                <c:pt idx="227">
                  <c:v>1017</c:v>
                </c:pt>
                <c:pt idx="228">
                  <c:v>976</c:v>
                </c:pt>
                <c:pt idx="229">
                  <c:v>978</c:v>
                </c:pt>
                <c:pt idx="230">
                  <c:v>996</c:v>
                </c:pt>
                <c:pt idx="231">
                  <c:v>945</c:v>
                </c:pt>
                <c:pt idx="232">
                  <c:v>910</c:v>
                </c:pt>
                <c:pt idx="233">
                  <c:v>836</c:v>
                </c:pt>
                <c:pt idx="234">
                  <c:v>789</c:v>
                </c:pt>
                <c:pt idx="235">
                  <c:v>753</c:v>
                </c:pt>
                <c:pt idx="236">
                  <c:v>763</c:v>
                </c:pt>
                <c:pt idx="237">
                  <c:v>741</c:v>
                </c:pt>
                <c:pt idx="238">
                  <c:v>715</c:v>
                </c:pt>
                <c:pt idx="239">
                  <c:v>689</c:v>
                </c:pt>
                <c:pt idx="240">
                  <c:v>640</c:v>
                </c:pt>
                <c:pt idx="241">
                  <c:v>580</c:v>
                </c:pt>
                <c:pt idx="242">
                  <c:v>558</c:v>
                </c:pt>
                <c:pt idx="243" formatCode="General">
                  <c:v>564</c:v>
                </c:pt>
                <c:pt idx="244" formatCode="General">
                  <c:v>571</c:v>
                </c:pt>
                <c:pt idx="245" formatCode="General">
                  <c:v>552</c:v>
                </c:pt>
                <c:pt idx="246" formatCode="General">
                  <c:v>508</c:v>
                </c:pt>
                <c:pt idx="247" formatCode="General">
                  <c:v>468</c:v>
                </c:pt>
                <c:pt idx="248" formatCode="General">
                  <c:v>444</c:v>
                </c:pt>
                <c:pt idx="249" formatCode="General">
                  <c:v>415</c:v>
                </c:pt>
                <c:pt idx="250" formatCode="General">
                  <c:v>423</c:v>
                </c:pt>
                <c:pt idx="251" formatCode="General">
                  <c:v>427</c:v>
                </c:pt>
                <c:pt idx="252" formatCode="General">
                  <c:v>402</c:v>
                </c:pt>
                <c:pt idx="253" formatCode="General">
                  <c:v>377</c:v>
                </c:pt>
                <c:pt idx="254" formatCode="General">
                  <c:v>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1.079262939895252E-2"/>
                  <c:y val="8.575614127075071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7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B$2:$B$256</c:f>
              <c:numCache>
                <c:formatCode>#,##0</c:formatCode>
                <c:ptCount val="25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6</c:f>
              <c:numCache>
                <c:formatCode>m/d/yyyy</c:formatCode>
                <c:ptCount val="25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</c:numCache>
            </c:numRef>
          </c:cat>
          <c:val>
            <c:numRef>
              <c:f>Sheet1!$C$2:$C$256</c:f>
              <c:numCache>
                <c:formatCode>#,##0</c:formatCode>
                <c:ptCount val="25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4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71731506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09800453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3549642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7910602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02130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02130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87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70</cp:revision>
  <dcterms:created xsi:type="dcterms:W3CDTF">2020-08-08T14:25:07Z</dcterms:created>
  <dcterms:modified xsi:type="dcterms:W3CDTF">2021-05-14T03:26:19Z</dcterms:modified>
</cp:coreProperties>
</file>